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28-0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133040" y="148084"/>
            <a:ext cx="10139675" cy="1454496"/>
            <a:chOff x="2406003" y="332619"/>
            <a:chExt cx="9220653" cy="949772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406003" y="332619"/>
              <a:ext cx="1554828" cy="1942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 Mandal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 </a:t>
              </a: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oftware Engineer</a:t>
              </a: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9836962341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kumimoji="0" lang="en-US" sz="90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m969@gmail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89908" y="1530380"/>
            <a:ext cx="3653570" cy="220904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50" dirty="0"/>
              <a:t>A highly skilled software engineer specializing in AI/ML, advanced DSA, Generative AI and dynamic application development. Proficient in building scalable, intelligent systems using frameworks like TensorFlow, </a:t>
            </a:r>
            <a:r>
              <a:rPr lang="en-IN" sz="1050" dirty="0" err="1"/>
              <a:t>PyTorch</a:t>
            </a:r>
            <a:r>
              <a:rPr lang="en-IN" sz="1050" dirty="0"/>
              <a:t> and </a:t>
            </a:r>
            <a:r>
              <a:rPr lang="en-IN" sz="1050" dirty="0" err="1"/>
              <a:t>LangChain</a:t>
            </a:r>
            <a:r>
              <a:rPr lang="en-IN" sz="1050" dirty="0"/>
              <a:t>. Expertise in DevOps, AWS, Azure cloud ensures secure, efficient infrastructures with seamless deployments. A Python automation enthusiast, streamlining workflows and driving productivity. An innovative team player, passionate about leveraging emerging technologies to deliver impactful, AI-driven solutions.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3837147" y="1619666"/>
            <a:ext cx="8354853" cy="515076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Ernst &amp; Young (Jan 2022 – Till Now)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n AI-driven system for survey data processing, analytics, and real-time predictions using AWS Lambda, S3, Glue,</a:t>
            </a:r>
            <a:br>
              <a:rPr lang="en-IN" sz="1000" dirty="0"/>
            </a:br>
            <a:r>
              <a:rPr lang="en-IN" sz="1000" dirty="0" err="1"/>
              <a:t>Sagemaker</a:t>
            </a:r>
            <a:r>
              <a:rPr lang="en-IN" sz="1000" dirty="0"/>
              <a:t>, Bedrock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signed an </a:t>
            </a:r>
            <a:r>
              <a:rPr lang="en-IN" sz="1000" dirty="0" err="1"/>
              <a:t>Autogen</a:t>
            </a:r>
            <a:r>
              <a:rPr lang="en-IN" sz="1000" dirty="0"/>
              <a:t> framework with multi-agent orchestration, NLP, </a:t>
            </a:r>
            <a:r>
              <a:rPr lang="en-IN" sz="1000" dirty="0" err="1"/>
              <a:t>ChromaDB</a:t>
            </a:r>
            <a:r>
              <a:rPr lang="en-IN" sz="1000" dirty="0"/>
              <a:t>, and seamless API and database integration.</a:t>
            </a:r>
            <a:endParaRPr lang="en-IN" sz="1000" dirty="0">
              <a:solidFill>
                <a:srgbClr val="000000"/>
              </a:solidFill>
              <a:latin typeface="EYInterstate" panose="02000503020000020004" pitchFamily="2" charset="0"/>
              <a:cs typeface="Arial" pitchFamily="34" charset="0"/>
            </a:endParaRP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</a:t>
            </a:r>
            <a:r>
              <a:rPr lang="en-IN" sz="1000" dirty="0" err="1"/>
              <a:t>GenAI</a:t>
            </a:r>
            <a:r>
              <a:rPr lang="en-IN" sz="1000" dirty="0"/>
              <a:t> agent with </a:t>
            </a:r>
            <a:r>
              <a:rPr lang="en-IN" sz="1000" dirty="0" err="1"/>
              <a:t>Autogen</a:t>
            </a:r>
            <a:r>
              <a:rPr lang="en-IN" sz="1000" dirty="0"/>
              <a:t> Framework for post-migration anomaly detection, integrating Azure monitoring tools, 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Python, KQL, and a Flask-based PostgreSQL system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Experienced in AI-driven AWS monitoring, using CloudWatch, X-Ray, and CloudTrail with ML algorithms for anomaly detection,   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trend analysis, and optimized resource management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 chatbot with </a:t>
            </a:r>
            <a:r>
              <a:rPr lang="en-IN" sz="1000" dirty="0" err="1"/>
              <a:t>LangChain</a:t>
            </a:r>
            <a:r>
              <a:rPr lang="en-IN" sz="1000" dirty="0"/>
              <a:t> for enterprise support, integrating LLMs and vector databases for smarter, context-aware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response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ployed a scalable Django app on AWS using Docker, Helm, EKS, and ECR with CI/CD using GitHub Action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-driven AWS Lambda alerting system using Isolation Forest and K-Means for anomaly detection, with real-time alerts to</a:t>
            </a:r>
            <a:br>
              <a:rPr lang="en-IN" sz="1000" dirty="0"/>
            </a:br>
            <a:r>
              <a:rPr lang="en-IN" sz="1000" dirty="0"/>
              <a:t>Microsoft Teams and Email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deep learning model using </a:t>
            </a:r>
            <a:r>
              <a:rPr lang="en-IN" sz="1000" dirty="0" err="1"/>
              <a:t>PyTorch</a:t>
            </a:r>
            <a:r>
              <a:rPr lang="en-IN" sz="1000" dirty="0"/>
              <a:t> for image classification, leveraging transfer learning and scikit-learn for data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preprocessing and evalua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 err="1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DataPeace</a:t>
            </a: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AI Technology Pvt Ltd (Feb 2021 – Dec 2021)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Extracted Aadhaar card numbers from images using OCR and deep learning for precise text recognition and parsing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Developed a flight availability prediction API using deep learning, leveraging datasets and weather conditions for accurate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forecast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Built an NLP chatbot using machine learning, leveraging text preprocessing, sentiment analysis, and LSTM for sentiment-driven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response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89908" y="3604407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126641" y="4211497"/>
            <a:ext cx="3684459" cy="2315902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ava, Spring Boot, Micro Services, Python,  Django, Flask.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FastAP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</a:t>
            </a: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  <a:sym typeface="Arial Unicode MS" pitchFamily="34" charset="-128"/>
            </a:endParaRP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/DB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MySQL, Oracl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LOUD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AWS &amp; Azur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I/ML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NLP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ataScience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GenA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, Computer Vision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I/CD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GitHub Actions, GitLab, Azure DevOps, Terraform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Docker, Kubernetes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gile Tool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IRA, Confluence</a:t>
            </a:r>
          </a:p>
          <a:p>
            <a:pPr marL="0" lvl="1" indent="0" defTabSz="791924">
              <a:spcBef>
                <a:spcPts val="0"/>
              </a:spcBef>
              <a:buClr>
                <a:srgbClr val="FFE600"/>
              </a:buClr>
              <a:buSzPct val="100000"/>
              <a:buNone/>
              <a:tabLst>
                <a:tab pos="2566083" algn="l"/>
                <a:tab pos="3707826" algn="r"/>
              </a:tabLst>
              <a:defRPr/>
            </a:pPr>
            <a:b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3837147" y="1619666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91230" y="3604407"/>
            <a:ext cx="3294351" cy="54665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Computer Science from KIIT UNIVERSITY</a:t>
            </a:r>
            <a:endParaRPr lang="en-IN" sz="105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126641" y="4225923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E3828E-72E6-FED0-354C-B8A71EDC4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1228402"/>
              </p:ext>
            </p:extLst>
          </p:nvPr>
        </p:nvGraphicFramePr>
        <p:xfrm>
          <a:off x="3058409" y="-325120"/>
          <a:ext cx="6166871" cy="1826267"/>
        </p:xfrm>
        <a:graphic>
          <a:graphicData uri="http://schemas.openxmlformats.org/drawingml/2006/table">
            <a:tbl>
              <a:tblPr firstRow="1" bandRow="1"/>
              <a:tblGrid>
                <a:gridCol w="1299212">
                  <a:extLst>
                    <a:ext uri="{9D8B030D-6E8A-4147-A177-3AD203B41FA5}">
                      <a16:colId xmlns:a16="http://schemas.microsoft.com/office/drawing/2014/main" val="2488110130"/>
                    </a:ext>
                  </a:extLst>
                </a:gridCol>
                <a:gridCol w="12676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5466">
                  <a:extLst>
                    <a:ext uri="{9D8B030D-6E8A-4147-A177-3AD203B41FA5}">
                      <a16:colId xmlns:a16="http://schemas.microsoft.com/office/drawing/2014/main" val="3902652165"/>
                    </a:ext>
                  </a:extLst>
                </a:gridCol>
                <a:gridCol w="18545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2700"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5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Functional/Technical Competency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43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I/ML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latin typeface="EYInterstate" panose="02000503020000020004" pitchFamily="2" charset="0"/>
                        </a:rPr>
                        <a:t>DevOps (CI/CD)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Cloud &amp; Infrastructure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pplication Developme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130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eep Learning,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LP , Computer Vision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enerative AI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itHub Actions,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erraform , Ansibl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zure DevO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WS , Azur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Kubernetes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ocker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Django , Flask</a:t>
                      </a:r>
                      <a:br>
                        <a:rPr lang="en-IN" sz="900" b="1" dirty="0">
                          <a:latin typeface="EYInterstate" panose="02000503020000020004" pitchFamily="2" charset="0"/>
                        </a:rPr>
                      </a:b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Spring Boot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3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B6EA7F4A-A383-AFD5-C0B6-8BBE55D2E3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6459" y="95162"/>
            <a:ext cx="1215570" cy="1215570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C144CE5-59EA-7AB8-CA6C-EE5C78B4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029" y="219070"/>
            <a:ext cx="1091662" cy="109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6</TotalTime>
  <Words>533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Prithwish Mandal</cp:lastModifiedBy>
  <cp:revision>12</cp:revision>
  <dcterms:created xsi:type="dcterms:W3CDTF">2023-06-14T16:28:56Z</dcterms:created>
  <dcterms:modified xsi:type="dcterms:W3CDTF">2025-02-27T21:03:16Z</dcterms:modified>
</cp:coreProperties>
</file>